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6" r:id="rId2"/>
    <p:sldId id="258" r:id="rId3"/>
  </p:sldIdLst>
  <p:sldSz cx="10972800" cy="10972800"/>
  <p:notesSz cx="6858000" cy="9144000"/>
  <p:embeddedFontLst>
    <p:embeddedFont>
      <p:font typeface="Ovo" panose="02020502070400060406" pitchFamily="18" charset="0"/>
      <p:regular r:id="rId4"/>
    </p:embeddedFont>
    <p:embeddedFont>
      <p:font typeface="Pinyon Script" pitchFamily="2" charset="0"/>
      <p:regular r:id="rId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78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75" d="100"/>
          <a:sy n="75" d="100"/>
        </p:scale>
        <p:origin x="1434" y="-3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font" Target="fonts/font2.fntdata"/><Relationship Id="rId4" Type="http://schemas.openxmlformats.org/officeDocument/2006/relationships/font" Target="fonts/font1.fntdata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8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8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8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8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4/28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9_1">
            <a:extLst>
              <a:ext uri="{FF2B5EF4-FFF2-40B4-BE49-F238E27FC236}">
                <a16:creationId xmlns:a16="http://schemas.microsoft.com/office/drawing/2014/main" id="{2D47EA1B-7BF9-8662-48C3-4F9D88365FF8}"/>
              </a:ext>
            </a:extLst>
          </p:cNvPr>
          <p:cNvGrpSpPr/>
          <p:nvPr/>
        </p:nvGrpSpPr>
        <p:grpSpPr>
          <a:xfrm>
            <a:off x="-2221249" y="-627775"/>
            <a:ext cx="15415297" cy="11863412"/>
            <a:chOff x="-2221249" y="-627775"/>
            <a:chExt cx="15415297" cy="1186341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A441ECC-4826-CB07-B299-5F2D32B2AEFA}"/>
                </a:ext>
              </a:extLst>
            </p:cNvPr>
            <p:cNvGrpSpPr/>
            <p:nvPr/>
          </p:nvGrpSpPr>
          <p:grpSpPr>
            <a:xfrm>
              <a:off x="-2221249" y="-627775"/>
              <a:ext cx="15415297" cy="11863412"/>
              <a:chOff x="-2221249" y="-627775"/>
              <a:chExt cx="15415297" cy="11863412"/>
            </a:xfrm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7D7DAC57-2CB1-FC6E-4CA5-FAF5446DC6A4}"/>
                  </a:ext>
                </a:extLst>
              </p:cNvPr>
              <p:cNvSpPr/>
              <p:nvPr/>
            </p:nvSpPr>
            <p:spPr>
              <a:xfrm rot="-7139943" flipV="1">
                <a:off x="-1094173" y="7061659"/>
                <a:ext cx="3046902" cy="5301053"/>
              </a:xfrm>
              <a:custGeom>
                <a:avLst/>
                <a:gdLst>
                  <a:gd name="connsiteX0" fmla="*/ 1289921 w 3046902"/>
                  <a:gd name="connsiteY0" fmla="*/ 5301053 h 5301053"/>
                  <a:gd name="connsiteX1" fmla="*/ 465996 w 3046902"/>
                  <a:gd name="connsiteY1" fmla="*/ 3814595 h 5301053"/>
                  <a:gd name="connsiteX2" fmla="*/ 332703 w 3046902"/>
                  <a:gd name="connsiteY2" fmla="*/ 3888478 h 5301053"/>
                  <a:gd name="connsiteX3" fmla="*/ 0 w 3046902"/>
                  <a:gd name="connsiteY3" fmla="*/ 3288243 h 5301053"/>
                  <a:gd name="connsiteX4" fmla="*/ 0 w 3046902"/>
                  <a:gd name="connsiteY4" fmla="*/ 5301053 h 5301053"/>
                  <a:gd name="connsiteX5" fmla="*/ 3046901 w 3046902"/>
                  <a:gd name="connsiteY5" fmla="*/ 4736348 h 5301053"/>
                  <a:gd name="connsiteX6" fmla="*/ 2028106 w 3046902"/>
                  <a:gd name="connsiteY6" fmla="*/ 5301053 h 5301053"/>
                  <a:gd name="connsiteX7" fmla="*/ 3046902 w 3046902"/>
                  <a:gd name="connsiteY7" fmla="*/ 5301053 h 5301053"/>
                  <a:gd name="connsiteX8" fmla="*/ 3046902 w 3046902"/>
                  <a:gd name="connsiteY8" fmla="*/ 0 h 5301053"/>
                  <a:gd name="connsiteX9" fmla="*/ 0 w 3046902"/>
                  <a:gd name="connsiteY9" fmla="*/ 0 h 5301053"/>
                  <a:gd name="connsiteX10" fmla="*/ 0 w 3046902"/>
                  <a:gd name="connsiteY10" fmla="*/ 2502344 h 5301053"/>
                  <a:gd name="connsiteX11" fmla="*/ 628995 w 3046902"/>
                  <a:gd name="connsiteY11" fmla="*/ 3637125 h 5301053"/>
                  <a:gd name="connsiteX12" fmla="*/ 2695041 w 3046902"/>
                  <a:gd name="connsiteY12" fmla="*/ 2491942 h 5301053"/>
                  <a:gd name="connsiteX13" fmla="*/ 3046902 w 3046902"/>
                  <a:gd name="connsiteY13" fmla="*/ 3126741 h 5301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046902" h="5301053">
                    <a:moveTo>
                      <a:pt x="1289921" y="5301053"/>
                    </a:moveTo>
                    <a:lnTo>
                      <a:pt x="465996" y="3814595"/>
                    </a:lnTo>
                    <a:lnTo>
                      <a:pt x="332703" y="3888478"/>
                    </a:lnTo>
                    <a:lnTo>
                      <a:pt x="0" y="3288243"/>
                    </a:lnTo>
                    <a:lnTo>
                      <a:pt x="0" y="5301053"/>
                    </a:lnTo>
                    <a:close/>
                    <a:moveTo>
                      <a:pt x="3046901" y="4736348"/>
                    </a:moveTo>
                    <a:lnTo>
                      <a:pt x="2028106" y="5301053"/>
                    </a:lnTo>
                    <a:lnTo>
                      <a:pt x="3046902" y="5301053"/>
                    </a:lnTo>
                    <a:close/>
                    <a:moveTo>
                      <a:pt x="3046902" y="0"/>
                    </a:moveTo>
                    <a:lnTo>
                      <a:pt x="0" y="0"/>
                    </a:lnTo>
                    <a:lnTo>
                      <a:pt x="0" y="2502344"/>
                    </a:lnTo>
                    <a:lnTo>
                      <a:pt x="628995" y="3637125"/>
                    </a:lnTo>
                    <a:lnTo>
                      <a:pt x="2695041" y="2491942"/>
                    </a:lnTo>
                    <a:lnTo>
                      <a:pt x="3046902" y="3126741"/>
                    </a:lnTo>
                    <a:close/>
                  </a:path>
                </a:pathLst>
              </a:custGeom>
              <a:blipFill>
                <a:blip r:embed="rId3">
                  <a:alphaModFix amt="9999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ED2928E8-F2C1-0DE7-595B-E9DA5F808A0B}"/>
                  </a:ext>
                </a:extLst>
              </p:cNvPr>
              <p:cNvSpPr/>
              <p:nvPr/>
            </p:nvSpPr>
            <p:spPr>
              <a:xfrm rot="7139999" flipH="1" flipV="1">
                <a:off x="9020070" y="7061659"/>
                <a:ext cx="3046902" cy="5301054"/>
              </a:xfrm>
              <a:custGeom>
                <a:avLst/>
                <a:gdLst>
                  <a:gd name="connsiteX0" fmla="*/ 466016 w 3046902"/>
                  <a:gd name="connsiteY0" fmla="*/ 3814614 h 5301054"/>
                  <a:gd name="connsiteX1" fmla="*/ 1289962 w 3046902"/>
                  <a:gd name="connsiteY1" fmla="*/ 5301053 h 5301054"/>
                  <a:gd name="connsiteX2" fmla="*/ 0 w 3046902"/>
                  <a:gd name="connsiteY2" fmla="*/ 5301053 h 5301054"/>
                  <a:gd name="connsiteX3" fmla="*/ 0 w 3046902"/>
                  <a:gd name="connsiteY3" fmla="*/ 3759775 h 5301054"/>
                  <a:gd name="connsiteX4" fmla="*/ 132786 w 3046902"/>
                  <a:gd name="connsiteY4" fmla="*/ 3999326 h 5301054"/>
                  <a:gd name="connsiteX5" fmla="*/ 3046901 w 3046902"/>
                  <a:gd name="connsiteY5" fmla="*/ 4736342 h 5301054"/>
                  <a:gd name="connsiteX6" fmla="*/ 3046902 w 3046902"/>
                  <a:gd name="connsiteY6" fmla="*/ 5301054 h 5301054"/>
                  <a:gd name="connsiteX7" fmla="*/ 2028135 w 3046902"/>
                  <a:gd name="connsiteY7" fmla="*/ 5301053 h 5301054"/>
                  <a:gd name="connsiteX8" fmla="*/ 3046902 w 3046902"/>
                  <a:gd name="connsiteY8" fmla="*/ 0 h 5301054"/>
                  <a:gd name="connsiteX9" fmla="*/ 3046901 w 3046902"/>
                  <a:gd name="connsiteY9" fmla="*/ 3126702 h 5301054"/>
                  <a:gd name="connsiteX10" fmla="*/ 2695038 w 3046902"/>
                  <a:gd name="connsiteY10" fmla="*/ 2491923 h 5301054"/>
                  <a:gd name="connsiteX11" fmla="*/ 629011 w 3046902"/>
                  <a:gd name="connsiteY11" fmla="*/ 3637140 h 5301054"/>
                  <a:gd name="connsiteX12" fmla="*/ 0 w 3046902"/>
                  <a:gd name="connsiteY12" fmla="*/ 2502373 h 5301054"/>
                  <a:gd name="connsiteX13" fmla="*/ 0 w 3046902"/>
                  <a:gd name="connsiteY13" fmla="*/ 0 h 5301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046902" h="5301054">
                    <a:moveTo>
                      <a:pt x="466016" y="3814614"/>
                    </a:moveTo>
                    <a:lnTo>
                      <a:pt x="1289962" y="5301053"/>
                    </a:lnTo>
                    <a:lnTo>
                      <a:pt x="0" y="5301053"/>
                    </a:lnTo>
                    <a:lnTo>
                      <a:pt x="0" y="3759775"/>
                    </a:lnTo>
                    <a:lnTo>
                      <a:pt x="132786" y="3999326"/>
                    </a:lnTo>
                    <a:close/>
                    <a:moveTo>
                      <a:pt x="3046901" y="4736342"/>
                    </a:moveTo>
                    <a:lnTo>
                      <a:pt x="3046902" y="5301054"/>
                    </a:lnTo>
                    <a:lnTo>
                      <a:pt x="2028135" y="5301053"/>
                    </a:lnTo>
                    <a:close/>
                    <a:moveTo>
                      <a:pt x="3046902" y="0"/>
                    </a:moveTo>
                    <a:lnTo>
                      <a:pt x="3046901" y="3126702"/>
                    </a:lnTo>
                    <a:lnTo>
                      <a:pt x="2695038" y="2491923"/>
                    </a:lnTo>
                    <a:lnTo>
                      <a:pt x="629011" y="3637140"/>
                    </a:lnTo>
                    <a:lnTo>
                      <a:pt x="0" y="250237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9999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991E3886-31F8-FCF4-01ED-43207910055C}"/>
                  </a:ext>
                </a:extLst>
              </p:cNvPr>
              <p:cNvSpPr/>
              <p:nvPr/>
            </p:nvSpPr>
            <p:spPr>
              <a:xfrm rot="7510732">
                <a:off x="-977587" y="-1368803"/>
                <a:ext cx="3198773" cy="4680830"/>
              </a:xfrm>
              <a:custGeom>
                <a:avLst/>
                <a:gdLst>
                  <a:gd name="connsiteX0" fmla="*/ 0 w 3198773"/>
                  <a:gd name="connsiteY0" fmla="*/ 1897837 h 4680830"/>
                  <a:gd name="connsiteX1" fmla="*/ 0 w 3198773"/>
                  <a:gd name="connsiteY1" fmla="*/ 0 h 4680830"/>
                  <a:gd name="connsiteX2" fmla="*/ 3198773 w 3198773"/>
                  <a:gd name="connsiteY2" fmla="*/ 0 h 4680830"/>
                  <a:gd name="connsiteX3" fmla="*/ 3198773 w 3198773"/>
                  <a:gd name="connsiteY3" fmla="*/ 2328061 h 4680830"/>
                  <a:gd name="connsiteX4" fmla="*/ 3031949 w 3198773"/>
                  <a:gd name="connsiteY4" fmla="*/ 2091388 h 4680830"/>
                  <a:gd name="connsiteX5" fmla="*/ 1163470 w 3198773"/>
                  <a:gd name="connsiteY5" fmla="*/ 3408423 h 4680830"/>
                  <a:gd name="connsiteX6" fmla="*/ 65941 w 3198773"/>
                  <a:gd name="connsiteY6" fmla="*/ 1851357 h 4680830"/>
                  <a:gd name="connsiteX7" fmla="*/ 1606753 w 3198773"/>
                  <a:gd name="connsiteY7" fmla="*/ 4680830 h 4680830"/>
                  <a:gd name="connsiteX8" fmla="*/ 3198773 w 3198773"/>
                  <a:gd name="connsiteY8" fmla="*/ 3558662 h 4680830"/>
                  <a:gd name="connsiteX9" fmla="*/ 3198773 w 3198773"/>
                  <a:gd name="connsiteY9" fmla="*/ 4680830 h 4680830"/>
                  <a:gd name="connsiteX10" fmla="*/ 0 w 3198773"/>
                  <a:gd name="connsiteY10" fmla="*/ 4680830 h 4680830"/>
                  <a:gd name="connsiteX11" fmla="*/ 0 w 3198773"/>
                  <a:gd name="connsiteY11" fmla="*/ 3964682 h 4680830"/>
                  <a:gd name="connsiteX12" fmla="*/ 168143 w 3198773"/>
                  <a:gd name="connsiteY12" fmla="*/ 4203227 h 4680830"/>
                  <a:gd name="connsiteX13" fmla="*/ 522262 w 3198773"/>
                  <a:gd name="connsiteY13" fmla="*/ 3953619 h 4680830"/>
                  <a:gd name="connsiteX14" fmla="*/ 1034852 w 3198773"/>
                  <a:gd name="connsiteY14" fmla="*/ 4680830 h 4680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198773" h="4680830">
                    <a:moveTo>
                      <a:pt x="0" y="1897837"/>
                    </a:moveTo>
                    <a:lnTo>
                      <a:pt x="0" y="0"/>
                    </a:lnTo>
                    <a:lnTo>
                      <a:pt x="3198773" y="0"/>
                    </a:lnTo>
                    <a:lnTo>
                      <a:pt x="3198773" y="2328061"/>
                    </a:lnTo>
                    <a:lnTo>
                      <a:pt x="3031949" y="2091388"/>
                    </a:lnTo>
                    <a:lnTo>
                      <a:pt x="1163470" y="3408423"/>
                    </a:lnTo>
                    <a:lnTo>
                      <a:pt x="65941" y="1851357"/>
                    </a:lnTo>
                    <a:close/>
                    <a:moveTo>
                      <a:pt x="1606753" y="4680830"/>
                    </a:moveTo>
                    <a:lnTo>
                      <a:pt x="3198773" y="3558662"/>
                    </a:lnTo>
                    <a:lnTo>
                      <a:pt x="3198773" y="4680830"/>
                    </a:lnTo>
                    <a:close/>
                    <a:moveTo>
                      <a:pt x="0" y="4680830"/>
                    </a:moveTo>
                    <a:lnTo>
                      <a:pt x="0" y="3964682"/>
                    </a:lnTo>
                    <a:lnTo>
                      <a:pt x="168143" y="4203227"/>
                    </a:lnTo>
                    <a:lnTo>
                      <a:pt x="522262" y="3953619"/>
                    </a:lnTo>
                    <a:lnTo>
                      <a:pt x="1034852" y="4680830"/>
                    </a:lnTo>
                    <a:close/>
                  </a:path>
                </a:pathLst>
              </a:custGeom>
              <a:blipFill>
                <a:blip r:embed="rId5">
                  <a:alphaModFix amt="9999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B24DCE37-5388-C3F0-5C83-233917B5C074}"/>
                  </a:ext>
                </a:extLst>
              </p:cNvPr>
              <p:cNvSpPr/>
              <p:nvPr/>
            </p:nvSpPr>
            <p:spPr>
              <a:xfrm rot="-7511999" flipH="1">
                <a:off x="8751629" y="-1368803"/>
                <a:ext cx="3198773" cy="4680830"/>
              </a:xfrm>
              <a:custGeom>
                <a:avLst/>
                <a:gdLst>
                  <a:gd name="connsiteX0" fmla="*/ 0 w 3198773"/>
                  <a:gd name="connsiteY0" fmla="*/ 1898293 h 4680830"/>
                  <a:gd name="connsiteX1" fmla="*/ 65752 w 3198773"/>
                  <a:gd name="connsiteY1" fmla="*/ 1851910 h 4680830"/>
                  <a:gd name="connsiteX2" fmla="*/ 1163855 w 3198773"/>
                  <a:gd name="connsiteY2" fmla="*/ 3408571 h 4680830"/>
                  <a:gd name="connsiteX3" fmla="*/ 3031849 w 3198773"/>
                  <a:gd name="connsiteY3" fmla="*/ 2090848 h 4680830"/>
                  <a:gd name="connsiteX4" fmla="*/ 3198773 w 3198773"/>
                  <a:gd name="connsiteY4" fmla="*/ 2327478 h 4680830"/>
                  <a:gd name="connsiteX5" fmla="*/ 3198773 w 3198773"/>
                  <a:gd name="connsiteY5" fmla="*/ 0 h 4680830"/>
                  <a:gd name="connsiteX6" fmla="*/ 0 w 3198773"/>
                  <a:gd name="connsiteY6" fmla="*/ 0 h 4680830"/>
                  <a:gd name="connsiteX7" fmla="*/ 1607585 w 3198773"/>
                  <a:gd name="connsiteY7" fmla="*/ 4680830 h 4680830"/>
                  <a:gd name="connsiteX8" fmla="*/ 3198773 w 3198773"/>
                  <a:gd name="connsiteY8" fmla="*/ 4680830 h 4680830"/>
                  <a:gd name="connsiteX9" fmla="*/ 3198773 w 3198773"/>
                  <a:gd name="connsiteY9" fmla="*/ 3092113 h 4680830"/>
                  <a:gd name="connsiteX10" fmla="*/ 1690945 w 3198773"/>
                  <a:gd name="connsiteY10" fmla="*/ 4155769 h 4680830"/>
                  <a:gd name="connsiteX11" fmla="*/ 1910565 w 3198773"/>
                  <a:gd name="connsiteY11" fmla="*/ 4467101 h 4680830"/>
                  <a:gd name="connsiteX12" fmla="*/ 0 w 3198773"/>
                  <a:gd name="connsiteY12" fmla="*/ 4680830 h 4680830"/>
                  <a:gd name="connsiteX13" fmla="*/ 1222071 w 3198773"/>
                  <a:gd name="connsiteY13" fmla="*/ 4680830 h 4680830"/>
                  <a:gd name="connsiteX14" fmla="*/ 0 w 3198773"/>
                  <a:gd name="connsiteY14" fmla="*/ 2948432 h 4680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198773" h="4680830">
                    <a:moveTo>
                      <a:pt x="0" y="1898293"/>
                    </a:moveTo>
                    <a:lnTo>
                      <a:pt x="65752" y="1851910"/>
                    </a:lnTo>
                    <a:lnTo>
                      <a:pt x="1163855" y="3408571"/>
                    </a:lnTo>
                    <a:lnTo>
                      <a:pt x="3031849" y="2090848"/>
                    </a:lnTo>
                    <a:lnTo>
                      <a:pt x="3198773" y="2327478"/>
                    </a:lnTo>
                    <a:lnTo>
                      <a:pt x="3198773" y="0"/>
                    </a:lnTo>
                    <a:lnTo>
                      <a:pt x="0" y="0"/>
                    </a:lnTo>
                    <a:close/>
                    <a:moveTo>
                      <a:pt x="1607585" y="4680830"/>
                    </a:moveTo>
                    <a:lnTo>
                      <a:pt x="3198773" y="4680830"/>
                    </a:lnTo>
                    <a:lnTo>
                      <a:pt x="3198773" y="3092113"/>
                    </a:lnTo>
                    <a:lnTo>
                      <a:pt x="1690945" y="4155769"/>
                    </a:lnTo>
                    <a:lnTo>
                      <a:pt x="1910565" y="4467101"/>
                    </a:lnTo>
                    <a:close/>
                    <a:moveTo>
                      <a:pt x="0" y="4680830"/>
                    </a:moveTo>
                    <a:lnTo>
                      <a:pt x="1222071" y="4680830"/>
                    </a:lnTo>
                    <a:lnTo>
                      <a:pt x="0" y="2948432"/>
                    </a:lnTo>
                    <a:close/>
                  </a:path>
                </a:pathLst>
              </a:custGeom>
              <a:blipFill>
                <a:blip r:embed="rId5">
                  <a:alphaModFix amt="9999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6C54E2B-9B2C-3B68-9E25-FAA3F26858E1}"/>
                </a:ext>
              </a:extLst>
            </p:cNvPr>
            <p:cNvGrpSpPr/>
            <p:nvPr/>
          </p:nvGrpSpPr>
          <p:grpSpPr>
            <a:xfrm>
              <a:off x="1190137" y="789526"/>
              <a:ext cx="8592526" cy="9448156"/>
              <a:chOff x="1190137" y="789526"/>
              <a:chExt cx="8592526" cy="9448156"/>
            </a:xfrm>
          </p:grpSpPr>
          <p:sp>
            <p:nvSpPr>
              <p:cNvPr id="6" name="TextBox 6"/>
              <p:cNvSpPr txBox="1"/>
              <p:nvPr/>
            </p:nvSpPr>
            <p:spPr>
              <a:xfrm>
                <a:off x="2841319" y="9929928"/>
                <a:ext cx="5290161" cy="30775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508"/>
                  </a:lnSpc>
                  <a:spcBef>
                    <a:spcPct val="0"/>
                  </a:spcBef>
                </a:pPr>
                <a:r>
                  <a:rPr lang="en-US" sz="1650" spc="83" dirty="0">
                    <a:solidFill>
                      <a:srgbClr val="A8785D"/>
                    </a:solidFill>
                    <a:latin typeface="Ovo"/>
                  </a:rPr>
                  <a:t>GLOW GARDENS, 123 MAIN STREET, ANYTOWN</a:t>
                </a:r>
              </a:p>
            </p:txBody>
          </p:sp>
          <p:sp>
            <p:nvSpPr>
              <p:cNvPr id="7" name="TextBox 7"/>
              <p:cNvSpPr txBox="1"/>
              <p:nvPr/>
            </p:nvSpPr>
            <p:spPr>
              <a:xfrm>
                <a:off x="1737825" y="789526"/>
                <a:ext cx="7497150" cy="30775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2508"/>
                  </a:lnSpc>
                  <a:spcBef>
                    <a:spcPct val="0"/>
                  </a:spcBef>
                </a:pPr>
                <a:r>
                  <a:rPr lang="en-US" sz="1650" spc="83" dirty="0">
                    <a:solidFill>
                      <a:srgbClr val="A8785D"/>
                    </a:solidFill>
                    <a:latin typeface="Ovo"/>
                  </a:rPr>
                  <a:t>WEDDING CEREMONY</a:t>
                </a:r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1190137" y="4245040"/>
                <a:ext cx="8592526" cy="16542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2938"/>
                  </a:lnSpc>
                  <a:spcBef>
                    <a:spcPct val="0"/>
                  </a:spcBef>
                </a:pPr>
                <a:r>
                  <a:rPr lang="en-US" sz="9250" dirty="0">
                    <a:solidFill>
                      <a:srgbClr val="A8785D"/>
                    </a:solidFill>
                    <a:latin typeface="Pinyon Script"/>
                  </a:rPr>
                  <a:t>Emma &amp; Smith</a:t>
                </a:r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3609187" y="5820379"/>
                <a:ext cx="3754425" cy="3429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2639"/>
                  </a:lnSpc>
                </a:pPr>
                <a:r>
                  <a:rPr lang="en-US" sz="2199" dirty="0">
                    <a:solidFill>
                      <a:srgbClr val="A8785D"/>
                    </a:solidFill>
                    <a:latin typeface="Ovo"/>
                  </a:rPr>
                  <a:t>3:00 PM - 19 . 10 . 2025</a:t>
                </a:r>
              </a:p>
            </p:txBody>
          </p:sp>
          <p:sp>
            <p:nvSpPr>
              <p:cNvPr id="10" name="AutoShape 10"/>
              <p:cNvSpPr/>
              <p:nvPr/>
            </p:nvSpPr>
            <p:spPr>
              <a:xfrm flipH="1">
                <a:off x="4911070" y="6327541"/>
                <a:ext cx="1150659" cy="0"/>
              </a:xfrm>
              <a:prstGeom prst="line">
                <a:avLst/>
              </a:prstGeom>
              <a:ln w="9525" cap="rnd">
                <a:solidFill>
                  <a:srgbClr val="A8785D">
                    <a:alpha val="50196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11" name="TemplateLAB"/>
            <p:cNvSpPr/>
            <p:nvPr/>
          </p:nvSpPr>
          <p:spPr>
            <a:xfrm>
              <a:off x="5052509" y="10380557"/>
              <a:ext cx="867782" cy="143184"/>
            </a:xfrm>
            <a:custGeom>
              <a:avLst/>
              <a:gdLst/>
              <a:ahLst/>
              <a:cxnLst/>
              <a:rect l="l" t="t" r="r" b="b"/>
              <a:pathLst>
                <a:path w="867782" h="143184">
                  <a:moveTo>
                    <a:pt x="0" y="0"/>
                  </a:moveTo>
                  <a:lnTo>
                    <a:pt x="867782" y="0"/>
                  </a:lnTo>
                  <a:lnTo>
                    <a:pt x="867782" y="143184"/>
                  </a:lnTo>
                  <a:lnTo>
                    <a:pt x="0" y="14318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>
                <a:alphaModFix amt="70000"/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9_2">
            <a:extLst>
              <a:ext uri="{FF2B5EF4-FFF2-40B4-BE49-F238E27FC236}">
                <a16:creationId xmlns:a16="http://schemas.microsoft.com/office/drawing/2014/main" id="{F5B93D27-BBA6-CD34-2F14-3603CD51E7EA}"/>
              </a:ext>
            </a:extLst>
          </p:cNvPr>
          <p:cNvGrpSpPr/>
          <p:nvPr/>
        </p:nvGrpSpPr>
        <p:grpSpPr>
          <a:xfrm>
            <a:off x="-2221249" y="-627775"/>
            <a:ext cx="15415297" cy="11863412"/>
            <a:chOff x="-2221249" y="-627775"/>
            <a:chExt cx="15415297" cy="11863412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B360279C-39E6-0AFC-76D7-E86E254E32B9}"/>
                </a:ext>
              </a:extLst>
            </p:cNvPr>
            <p:cNvGrpSpPr/>
            <p:nvPr/>
          </p:nvGrpSpPr>
          <p:grpSpPr>
            <a:xfrm>
              <a:off x="-2221249" y="-627775"/>
              <a:ext cx="15415297" cy="11863412"/>
              <a:chOff x="-2221249" y="-627775"/>
              <a:chExt cx="15415297" cy="11863412"/>
            </a:xfrm>
          </p:grpSpPr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A4635727-763D-94B2-C758-408A123EDEEE}"/>
                  </a:ext>
                </a:extLst>
              </p:cNvPr>
              <p:cNvSpPr/>
              <p:nvPr/>
            </p:nvSpPr>
            <p:spPr>
              <a:xfrm rot="14460057" flipV="1">
                <a:off x="-1094173" y="7061659"/>
                <a:ext cx="3046902" cy="5301053"/>
              </a:xfrm>
              <a:custGeom>
                <a:avLst/>
                <a:gdLst>
                  <a:gd name="connsiteX0" fmla="*/ 1289921 w 3046902"/>
                  <a:gd name="connsiteY0" fmla="*/ 5301053 h 5301053"/>
                  <a:gd name="connsiteX1" fmla="*/ 465996 w 3046902"/>
                  <a:gd name="connsiteY1" fmla="*/ 3814595 h 5301053"/>
                  <a:gd name="connsiteX2" fmla="*/ 332703 w 3046902"/>
                  <a:gd name="connsiteY2" fmla="*/ 3888478 h 5301053"/>
                  <a:gd name="connsiteX3" fmla="*/ 0 w 3046902"/>
                  <a:gd name="connsiteY3" fmla="*/ 3288243 h 5301053"/>
                  <a:gd name="connsiteX4" fmla="*/ 0 w 3046902"/>
                  <a:gd name="connsiteY4" fmla="*/ 5301053 h 5301053"/>
                  <a:gd name="connsiteX5" fmla="*/ 3046901 w 3046902"/>
                  <a:gd name="connsiteY5" fmla="*/ 4736348 h 5301053"/>
                  <a:gd name="connsiteX6" fmla="*/ 2028106 w 3046902"/>
                  <a:gd name="connsiteY6" fmla="*/ 5301053 h 5301053"/>
                  <a:gd name="connsiteX7" fmla="*/ 3046902 w 3046902"/>
                  <a:gd name="connsiteY7" fmla="*/ 5301053 h 5301053"/>
                  <a:gd name="connsiteX8" fmla="*/ 3046902 w 3046902"/>
                  <a:gd name="connsiteY8" fmla="*/ 0 h 5301053"/>
                  <a:gd name="connsiteX9" fmla="*/ 0 w 3046902"/>
                  <a:gd name="connsiteY9" fmla="*/ 0 h 5301053"/>
                  <a:gd name="connsiteX10" fmla="*/ 0 w 3046902"/>
                  <a:gd name="connsiteY10" fmla="*/ 2502344 h 5301053"/>
                  <a:gd name="connsiteX11" fmla="*/ 628995 w 3046902"/>
                  <a:gd name="connsiteY11" fmla="*/ 3637125 h 5301053"/>
                  <a:gd name="connsiteX12" fmla="*/ 2695041 w 3046902"/>
                  <a:gd name="connsiteY12" fmla="*/ 2491942 h 5301053"/>
                  <a:gd name="connsiteX13" fmla="*/ 3046902 w 3046902"/>
                  <a:gd name="connsiteY13" fmla="*/ 3126741 h 5301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046902" h="5301053">
                    <a:moveTo>
                      <a:pt x="1289921" y="5301053"/>
                    </a:moveTo>
                    <a:lnTo>
                      <a:pt x="465996" y="3814595"/>
                    </a:lnTo>
                    <a:lnTo>
                      <a:pt x="332703" y="3888478"/>
                    </a:lnTo>
                    <a:lnTo>
                      <a:pt x="0" y="3288243"/>
                    </a:lnTo>
                    <a:lnTo>
                      <a:pt x="0" y="5301053"/>
                    </a:lnTo>
                    <a:close/>
                    <a:moveTo>
                      <a:pt x="3046901" y="4736348"/>
                    </a:moveTo>
                    <a:lnTo>
                      <a:pt x="2028106" y="5301053"/>
                    </a:lnTo>
                    <a:lnTo>
                      <a:pt x="3046902" y="5301053"/>
                    </a:lnTo>
                    <a:close/>
                    <a:moveTo>
                      <a:pt x="3046902" y="0"/>
                    </a:moveTo>
                    <a:lnTo>
                      <a:pt x="0" y="0"/>
                    </a:lnTo>
                    <a:lnTo>
                      <a:pt x="0" y="2502344"/>
                    </a:lnTo>
                    <a:lnTo>
                      <a:pt x="628995" y="3637125"/>
                    </a:lnTo>
                    <a:lnTo>
                      <a:pt x="2695041" y="2491942"/>
                    </a:lnTo>
                    <a:lnTo>
                      <a:pt x="3046902" y="3126741"/>
                    </a:lnTo>
                    <a:close/>
                  </a:path>
                </a:pathLst>
              </a:custGeom>
              <a:blipFill>
                <a:blip r:embed="rId3">
                  <a:alphaModFix amt="9999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7FA5A638-979B-82AA-C1BA-4A9AF9651546}"/>
                  </a:ext>
                </a:extLst>
              </p:cNvPr>
              <p:cNvSpPr/>
              <p:nvPr/>
            </p:nvSpPr>
            <p:spPr>
              <a:xfrm rot="7139999" flipH="1" flipV="1">
                <a:off x="9020070" y="7061659"/>
                <a:ext cx="3046902" cy="5301054"/>
              </a:xfrm>
              <a:custGeom>
                <a:avLst/>
                <a:gdLst>
                  <a:gd name="connsiteX0" fmla="*/ 466016 w 3046902"/>
                  <a:gd name="connsiteY0" fmla="*/ 3814614 h 5301054"/>
                  <a:gd name="connsiteX1" fmla="*/ 1289962 w 3046902"/>
                  <a:gd name="connsiteY1" fmla="*/ 5301053 h 5301054"/>
                  <a:gd name="connsiteX2" fmla="*/ 0 w 3046902"/>
                  <a:gd name="connsiteY2" fmla="*/ 5301053 h 5301054"/>
                  <a:gd name="connsiteX3" fmla="*/ 0 w 3046902"/>
                  <a:gd name="connsiteY3" fmla="*/ 3759775 h 5301054"/>
                  <a:gd name="connsiteX4" fmla="*/ 132786 w 3046902"/>
                  <a:gd name="connsiteY4" fmla="*/ 3999326 h 5301054"/>
                  <a:gd name="connsiteX5" fmla="*/ 3046901 w 3046902"/>
                  <a:gd name="connsiteY5" fmla="*/ 4736342 h 5301054"/>
                  <a:gd name="connsiteX6" fmla="*/ 3046902 w 3046902"/>
                  <a:gd name="connsiteY6" fmla="*/ 5301054 h 5301054"/>
                  <a:gd name="connsiteX7" fmla="*/ 2028135 w 3046902"/>
                  <a:gd name="connsiteY7" fmla="*/ 5301053 h 5301054"/>
                  <a:gd name="connsiteX8" fmla="*/ 3046902 w 3046902"/>
                  <a:gd name="connsiteY8" fmla="*/ 0 h 5301054"/>
                  <a:gd name="connsiteX9" fmla="*/ 3046901 w 3046902"/>
                  <a:gd name="connsiteY9" fmla="*/ 3126702 h 5301054"/>
                  <a:gd name="connsiteX10" fmla="*/ 2695038 w 3046902"/>
                  <a:gd name="connsiteY10" fmla="*/ 2491923 h 5301054"/>
                  <a:gd name="connsiteX11" fmla="*/ 629011 w 3046902"/>
                  <a:gd name="connsiteY11" fmla="*/ 3637140 h 5301054"/>
                  <a:gd name="connsiteX12" fmla="*/ 0 w 3046902"/>
                  <a:gd name="connsiteY12" fmla="*/ 2502373 h 5301054"/>
                  <a:gd name="connsiteX13" fmla="*/ 0 w 3046902"/>
                  <a:gd name="connsiteY13" fmla="*/ 0 h 5301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046902" h="5301054">
                    <a:moveTo>
                      <a:pt x="466016" y="3814614"/>
                    </a:moveTo>
                    <a:lnTo>
                      <a:pt x="1289962" y="5301053"/>
                    </a:lnTo>
                    <a:lnTo>
                      <a:pt x="0" y="5301053"/>
                    </a:lnTo>
                    <a:lnTo>
                      <a:pt x="0" y="3759775"/>
                    </a:lnTo>
                    <a:lnTo>
                      <a:pt x="132786" y="3999326"/>
                    </a:lnTo>
                    <a:close/>
                    <a:moveTo>
                      <a:pt x="3046901" y="4736342"/>
                    </a:moveTo>
                    <a:lnTo>
                      <a:pt x="3046902" y="5301054"/>
                    </a:lnTo>
                    <a:lnTo>
                      <a:pt x="2028135" y="5301053"/>
                    </a:lnTo>
                    <a:close/>
                    <a:moveTo>
                      <a:pt x="3046902" y="0"/>
                    </a:moveTo>
                    <a:lnTo>
                      <a:pt x="3046901" y="3126702"/>
                    </a:lnTo>
                    <a:lnTo>
                      <a:pt x="2695038" y="2491923"/>
                    </a:lnTo>
                    <a:lnTo>
                      <a:pt x="629011" y="3637140"/>
                    </a:lnTo>
                    <a:lnTo>
                      <a:pt x="0" y="2502373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9999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625FF322-6F36-50F4-F579-7E9C785E5505}"/>
                  </a:ext>
                </a:extLst>
              </p:cNvPr>
              <p:cNvSpPr/>
              <p:nvPr/>
            </p:nvSpPr>
            <p:spPr>
              <a:xfrm rot="7510732">
                <a:off x="-977587" y="-1368803"/>
                <a:ext cx="3198773" cy="4680830"/>
              </a:xfrm>
              <a:custGeom>
                <a:avLst/>
                <a:gdLst>
                  <a:gd name="connsiteX0" fmla="*/ 0 w 3198773"/>
                  <a:gd name="connsiteY0" fmla="*/ 1897837 h 4680830"/>
                  <a:gd name="connsiteX1" fmla="*/ 0 w 3198773"/>
                  <a:gd name="connsiteY1" fmla="*/ 0 h 4680830"/>
                  <a:gd name="connsiteX2" fmla="*/ 3198773 w 3198773"/>
                  <a:gd name="connsiteY2" fmla="*/ 0 h 4680830"/>
                  <a:gd name="connsiteX3" fmla="*/ 3198773 w 3198773"/>
                  <a:gd name="connsiteY3" fmla="*/ 2328061 h 4680830"/>
                  <a:gd name="connsiteX4" fmla="*/ 3031949 w 3198773"/>
                  <a:gd name="connsiteY4" fmla="*/ 2091388 h 4680830"/>
                  <a:gd name="connsiteX5" fmla="*/ 1163470 w 3198773"/>
                  <a:gd name="connsiteY5" fmla="*/ 3408423 h 4680830"/>
                  <a:gd name="connsiteX6" fmla="*/ 65941 w 3198773"/>
                  <a:gd name="connsiteY6" fmla="*/ 1851357 h 4680830"/>
                  <a:gd name="connsiteX7" fmla="*/ 1606753 w 3198773"/>
                  <a:gd name="connsiteY7" fmla="*/ 4680830 h 4680830"/>
                  <a:gd name="connsiteX8" fmla="*/ 3198773 w 3198773"/>
                  <a:gd name="connsiteY8" fmla="*/ 3558662 h 4680830"/>
                  <a:gd name="connsiteX9" fmla="*/ 3198773 w 3198773"/>
                  <a:gd name="connsiteY9" fmla="*/ 4680830 h 4680830"/>
                  <a:gd name="connsiteX10" fmla="*/ 0 w 3198773"/>
                  <a:gd name="connsiteY10" fmla="*/ 4680830 h 4680830"/>
                  <a:gd name="connsiteX11" fmla="*/ 0 w 3198773"/>
                  <a:gd name="connsiteY11" fmla="*/ 3964682 h 4680830"/>
                  <a:gd name="connsiteX12" fmla="*/ 168143 w 3198773"/>
                  <a:gd name="connsiteY12" fmla="*/ 4203227 h 4680830"/>
                  <a:gd name="connsiteX13" fmla="*/ 522262 w 3198773"/>
                  <a:gd name="connsiteY13" fmla="*/ 3953619 h 4680830"/>
                  <a:gd name="connsiteX14" fmla="*/ 1034852 w 3198773"/>
                  <a:gd name="connsiteY14" fmla="*/ 4680830 h 4680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198773" h="4680830">
                    <a:moveTo>
                      <a:pt x="0" y="1897837"/>
                    </a:moveTo>
                    <a:lnTo>
                      <a:pt x="0" y="0"/>
                    </a:lnTo>
                    <a:lnTo>
                      <a:pt x="3198773" y="0"/>
                    </a:lnTo>
                    <a:lnTo>
                      <a:pt x="3198773" y="2328061"/>
                    </a:lnTo>
                    <a:lnTo>
                      <a:pt x="3031949" y="2091388"/>
                    </a:lnTo>
                    <a:lnTo>
                      <a:pt x="1163470" y="3408423"/>
                    </a:lnTo>
                    <a:lnTo>
                      <a:pt x="65941" y="1851357"/>
                    </a:lnTo>
                    <a:close/>
                    <a:moveTo>
                      <a:pt x="1606753" y="4680830"/>
                    </a:moveTo>
                    <a:lnTo>
                      <a:pt x="3198773" y="3558662"/>
                    </a:lnTo>
                    <a:lnTo>
                      <a:pt x="3198773" y="4680830"/>
                    </a:lnTo>
                    <a:close/>
                    <a:moveTo>
                      <a:pt x="0" y="4680830"/>
                    </a:moveTo>
                    <a:lnTo>
                      <a:pt x="0" y="3964682"/>
                    </a:lnTo>
                    <a:lnTo>
                      <a:pt x="168143" y="4203227"/>
                    </a:lnTo>
                    <a:lnTo>
                      <a:pt x="522262" y="3953619"/>
                    </a:lnTo>
                    <a:lnTo>
                      <a:pt x="1034852" y="4680830"/>
                    </a:lnTo>
                    <a:close/>
                  </a:path>
                </a:pathLst>
              </a:custGeom>
              <a:blipFill>
                <a:blip r:embed="rId5">
                  <a:alphaModFix amt="9999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893858D-05D5-2A2F-E4C9-60AF4E368F0C}"/>
                  </a:ext>
                </a:extLst>
              </p:cNvPr>
              <p:cNvSpPr/>
              <p:nvPr/>
            </p:nvSpPr>
            <p:spPr>
              <a:xfrm rot="14088001" flipH="1">
                <a:off x="8751629" y="-1368803"/>
                <a:ext cx="3198773" cy="4680830"/>
              </a:xfrm>
              <a:custGeom>
                <a:avLst/>
                <a:gdLst>
                  <a:gd name="connsiteX0" fmla="*/ 0 w 3198773"/>
                  <a:gd name="connsiteY0" fmla="*/ 1898293 h 4680830"/>
                  <a:gd name="connsiteX1" fmla="*/ 65752 w 3198773"/>
                  <a:gd name="connsiteY1" fmla="*/ 1851910 h 4680830"/>
                  <a:gd name="connsiteX2" fmla="*/ 1163855 w 3198773"/>
                  <a:gd name="connsiteY2" fmla="*/ 3408571 h 4680830"/>
                  <a:gd name="connsiteX3" fmla="*/ 3031849 w 3198773"/>
                  <a:gd name="connsiteY3" fmla="*/ 2090848 h 4680830"/>
                  <a:gd name="connsiteX4" fmla="*/ 3198773 w 3198773"/>
                  <a:gd name="connsiteY4" fmla="*/ 2327478 h 4680830"/>
                  <a:gd name="connsiteX5" fmla="*/ 3198773 w 3198773"/>
                  <a:gd name="connsiteY5" fmla="*/ 0 h 4680830"/>
                  <a:gd name="connsiteX6" fmla="*/ 0 w 3198773"/>
                  <a:gd name="connsiteY6" fmla="*/ 0 h 4680830"/>
                  <a:gd name="connsiteX7" fmla="*/ 1607585 w 3198773"/>
                  <a:gd name="connsiteY7" fmla="*/ 4680830 h 4680830"/>
                  <a:gd name="connsiteX8" fmla="*/ 3198773 w 3198773"/>
                  <a:gd name="connsiteY8" fmla="*/ 4680830 h 4680830"/>
                  <a:gd name="connsiteX9" fmla="*/ 3198773 w 3198773"/>
                  <a:gd name="connsiteY9" fmla="*/ 3092113 h 4680830"/>
                  <a:gd name="connsiteX10" fmla="*/ 1690945 w 3198773"/>
                  <a:gd name="connsiteY10" fmla="*/ 4155769 h 4680830"/>
                  <a:gd name="connsiteX11" fmla="*/ 1910565 w 3198773"/>
                  <a:gd name="connsiteY11" fmla="*/ 4467101 h 4680830"/>
                  <a:gd name="connsiteX12" fmla="*/ 0 w 3198773"/>
                  <a:gd name="connsiteY12" fmla="*/ 4680830 h 4680830"/>
                  <a:gd name="connsiteX13" fmla="*/ 1222071 w 3198773"/>
                  <a:gd name="connsiteY13" fmla="*/ 4680830 h 4680830"/>
                  <a:gd name="connsiteX14" fmla="*/ 0 w 3198773"/>
                  <a:gd name="connsiteY14" fmla="*/ 2948432 h 4680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198773" h="4680830">
                    <a:moveTo>
                      <a:pt x="0" y="1898293"/>
                    </a:moveTo>
                    <a:lnTo>
                      <a:pt x="65752" y="1851910"/>
                    </a:lnTo>
                    <a:lnTo>
                      <a:pt x="1163855" y="3408571"/>
                    </a:lnTo>
                    <a:lnTo>
                      <a:pt x="3031849" y="2090848"/>
                    </a:lnTo>
                    <a:lnTo>
                      <a:pt x="3198773" y="2327478"/>
                    </a:lnTo>
                    <a:lnTo>
                      <a:pt x="3198773" y="0"/>
                    </a:lnTo>
                    <a:lnTo>
                      <a:pt x="0" y="0"/>
                    </a:lnTo>
                    <a:close/>
                    <a:moveTo>
                      <a:pt x="1607585" y="4680830"/>
                    </a:moveTo>
                    <a:lnTo>
                      <a:pt x="3198773" y="4680830"/>
                    </a:lnTo>
                    <a:lnTo>
                      <a:pt x="3198773" y="3092113"/>
                    </a:lnTo>
                    <a:lnTo>
                      <a:pt x="1690945" y="4155769"/>
                    </a:lnTo>
                    <a:lnTo>
                      <a:pt x="1910565" y="4467101"/>
                    </a:lnTo>
                    <a:close/>
                    <a:moveTo>
                      <a:pt x="0" y="4680830"/>
                    </a:moveTo>
                    <a:lnTo>
                      <a:pt x="1222071" y="4680830"/>
                    </a:lnTo>
                    <a:lnTo>
                      <a:pt x="0" y="2948432"/>
                    </a:lnTo>
                    <a:close/>
                  </a:path>
                </a:pathLst>
              </a:custGeom>
              <a:blipFill>
                <a:blip r:embed="rId5">
                  <a:alphaModFix amt="9999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a:blipFill>
              <a:ln cap="sq">
                <a:noFill/>
                <a:prstDash val="solid"/>
                <a:miter/>
              </a:ln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77BE703-59A3-67E5-3F35-01E858DDA689}"/>
                </a:ext>
              </a:extLst>
            </p:cNvPr>
            <p:cNvGrpSpPr/>
            <p:nvPr/>
          </p:nvGrpSpPr>
          <p:grpSpPr>
            <a:xfrm>
              <a:off x="1217225" y="8062851"/>
              <a:ext cx="8528721" cy="74585"/>
              <a:chOff x="1217225" y="8062851"/>
              <a:chExt cx="8528721" cy="74585"/>
            </a:xfrm>
          </p:grpSpPr>
          <p:sp>
            <p:nvSpPr>
              <p:cNvPr id="4" name="Freeform 4"/>
              <p:cNvSpPr/>
              <p:nvPr/>
            </p:nvSpPr>
            <p:spPr>
              <a:xfrm>
                <a:off x="5444293" y="8062851"/>
                <a:ext cx="74585" cy="74585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A8785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" name="Freeform 7"/>
              <p:cNvSpPr/>
              <p:nvPr/>
            </p:nvSpPr>
            <p:spPr>
              <a:xfrm>
                <a:off x="2484390" y="8062851"/>
                <a:ext cx="74585" cy="74585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A8785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" name="Freeform 10"/>
              <p:cNvSpPr/>
              <p:nvPr/>
            </p:nvSpPr>
            <p:spPr>
              <a:xfrm>
                <a:off x="8447818" y="8062851"/>
                <a:ext cx="74585" cy="74585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A8785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" name="AutoShape 2"/>
              <p:cNvSpPr/>
              <p:nvPr/>
            </p:nvSpPr>
            <p:spPr>
              <a:xfrm>
                <a:off x="1217225" y="8100144"/>
                <a:ext cx="8528721" cy="0"/>
              </a:xfrm>
              <a:prstGeom prst="line">
                <a:avLst/>
              </a:prstGeom>
              <a:ln w="9525" cap="flat">
                <a:solidFill>
                  <a:srgbClr val="A8785D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E27496DC-A267-3C03-2C46-D35AA06B09F2}"/>
                </a:ext>
              </a:extLst>
            </p:cNvPr>
            <p:cNvGrpSpPr/>
            <p:nvPr/>
          </p:nvGrpSpPr>
          <p:grpSpPr>
            <a:xfrm>
              <a:off x="1383203" y="7627224"/>
              <a:ext cx="8214857" cy="897544"/>
              <a:chOff x="1383203" y="7627224"/>
              <a:chExt cx="8214857" cy="897544"/>
            </a:xfrm>
          </p:grpSpPr>
          <p:sp>
            <p:nvSpPr>
              <p:cNvPr id="12" name="TextBox 12"/>
              <p:cNvSpPr txBox="1"/>
              <p:nvPr/>
            </p:nvSpPr>
            <p:spPr>
              <a:xfrm>
                <a:off x="7372162" y="8280662"/>
                <a:ext cx="2225898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/>
                  </a:rPr>
                  <a:t>WEDDING PARTY</a:t>
                </a:r>
              </a:p>
            </p:txBody>
          </p:sp>
          <p:sp>
            <p:nvSpPr>
              <p:cNvPr id="13" name="TextBox 13"/>
              <p:cNvSpPr txBox="1"/>
              <p:nvPr/>
            </p:nvSpPr>
            <p:spPr>
              <a:xfrm>
                <a:off x="7372162" y="7627224"/>
                <a:ext cx="2225898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 panose="02020502070400060406" pitchFamily="18" charset="0"/>
                  </a:rPr>
                  <a:t>7:00 PM</a:t>
                </a:r>
              </a:p>
            </p:txBody>
          </p:sp>
          <p:sp>
            <p:nvSpPr>
              <p:cNvPr id="14" name="TextBox 14"/>
              <p:cNvSpPr txBox="1"/>
              <p:nvPr/>
            </p:nvSpPr>
            <p:spPr>
              <a:xfrm>
                <a:off x="4343210" y="8280662"/>
                <a:ext cx="2276751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/>
                  </a:rPr>
                  <a:t>PRONOUNCEMENT</a:t>
                </a:r>
              </a:p>
            </p:txBody>
          </p:sp>
          <p:sp>
            <p:nvSpPr>
              <p:cNvPr id="15" name="TextBox 15"/>
              <p:cNvSpPr txBox="1"/>
              <p:nvPr/>
            </p:nvSpPr>
            <p:spPr>
              <a:xfrm>
                <a:off x="4343210" y="7627224"/>
                <a:ext cx="2276751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 panose="02020502070400060406" pitchFamily="18" charset="0"/>
                  </a:rPr>
                  <a:t>6:30 PM</a:t>
                </a:r>
              </a:p>
            </p:txBody>
          </p:sp>
          <p:sp>
            <p:nvSpPr>
              <p:cNvPr id="16" name="TextBox 16"/>
              <p:cNvSpPr txBox="1"/>
              <p:nvPr/>
            </p:nvSpPr>
            <p:spPr>
              <a:xfrm>
                <a:off x="1383203" y="8280662"/>
                <a:ext cx="2276961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/>
                  </a:rPr>
                  <a:t>UNITY CEREMONY</a:t>
                </a:r>
              </a:p>
            </p:txBody>
          </p:sp>
          <p:sp>
            <p:nvSpPr>
              <p:cNvPr id="17" name="TextBox 17"/>
              <p:cNvSpPr txBox="1"/>
              <p:nvPr/>
            </p:nvSpPr>
            <p:spPr>
              <a:xfrm>
                <a:off x="1383203" y="7627224"/>
                <a:ext cx="2276961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 panose="02020502070400060406" pitchFamily="18" charset="0"/>
                  </a:rPr>
                  <a:t>6:20 PM</a:t>
                </a: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91176E9-7BC9-79E4-2B5C-F0B60709C58F}"/>
                </a:ext>
              </a:extLst>
            </p:cNvPr>
            <p:cNvGrpSpPr/>
            <p:nvPr/>
          </p:nvGrpSpPr>
          <p:grpSpPr>
            <a:xfrm>
              <a:off x="1217225" y="6152995"/>
              <a:ext cx="8528721" cy="74585"/>
              <a:chOff x="1217225" y="6152995"/>
              <a:chExt cx="8528721" cy="74585"/>
            </a:xfrm>
          </p:grpSpPr>
          <p:sp>
            <p:nvSpPr>
              <p:cNvPr id="39" name="Freeform 39"/>
              <p:cNvSpPr/>
              <p:nvPr/>
            </p:nvSpPr>
            <p:spPr>
              <a:xfrm>
                <a:off x="2484390" y="6152995"/>
                <a:ext cx="74585" cy="74585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A8785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6" name="Freeform 36"/>
              <p:cNvSpPr/>
              <p:nvPr/>
            </p:nvSpPr>
            <p:spPr>
              <a:xfrm>
                <a:off x="5444293" y="6152995"/>
                <a:ext cx="74585" cy="74585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A8785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2" name="Freeform 42"/>
              <p:cNvSpPr/>
              <p:nvPr/>
            </p:nvSpPr>
            <p:spPr>
              <a:xfrm>
                <a:off x="8447818" y="6152995"/>
                <a:ext cx="74585" cy="74585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A8785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" name="AutoShape 34"/>
              <p:cNvSpPr/>
              <p:nvPr/>
            </p:nvSpPr>
            <p:spPr>
              <a:xfrm>
                <a:off x="1217225" y="6190287"/>
                <a:ext cx="8528721" cy="0"/>
              </a:xfrm>
              <a:prstGeom prst="line">
                <a:avLst/>
              </a:prstGeom>
              <a:ln w="9525" cap="flat">
                <a:solidFill>
                  <a:srgbClr val="A8785D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48A78F2E-2BB4-49DA-F2B1-6F1E88192E6C}"/>
                </a:ext>
              </a:extLst>
            </p:cNvPr>
            <p:cNvGrpSpPr/>
            <p:nvPr/>
          </p:nvGrpSpPr>
          <p:grpSpPr>
            <a:xfrm>
              <a:off x="1382725" y="5723368"/>
              <a:ext cx="8169941" cy="892285"/>
              <a:chOff x="1382725" y="5723368"/>
              <a:chExt cx="8169941" cy="892285"/>
            </a:xfrm>
          </p:grpSpPr>
          <p:sp>
            <p:nvSpPr>
              <p:cNvPr id="44" name="TextBox 44"/>
              <p:cNvSpPr txBox="1"/>
              <p:nvPr/>
            </p:nvSpPr>
            <p:spPr>
              <a:xfrm>
                <a:off x="7417556" y="5723368"/>
                <a:ext cx="2135110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 panose="02020502070400060406" pitchFamily="18" charset="0"/>
                  </a:rPr>
                  <a:t>6:10 PM</a:t>
                </a:r>
              </a:p>
            </p:txBody>
          </p:sp>
          <p:sp>
            <p:nvSpPr>
              <p:cNvPr id="45" name="TextBox 45"/>
              <p:cNvSpPr txBox="1"/>
              <p:nvPr/>
            </p:nvSpPr>
            <p:spPr>
              <a:xfrm>
                <a:off x="7417556" y="6371547"/>
                <a:ext cx="2135110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/>
                  </a:rPr>
                  <a:t>READING OR POEM</a:t>
                </a:r>
              </a:p>
            </p:txBody>
          </p:sp>
          <p:sp>
            <p:nvSpPr>
              <p:cNvPr id="46" name="TextBox 46"/>
              <p:cNvSpPr txBox="1"/>
              <p:nvPr/>
            </p:nvSpPr>
            <p:spPr>
              <a:xfrm>
                <a:off x="4368637" y="5723368"/>
                <a:ext cx="2225898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 panose="02020502070400060406" pitchFamily="18" charset="0"/>
                  </a:rPr>
                  <a:t>6:00 PM</a:t>
                </a:r>
              </a:p>
            </p:txBody>
          </p:sp>
          <p:sp>
            <p:nvSpPr>
              <p:cNvPr id="47" name="TextBox 47"/>
              <p:cNvSpPr txBox="1"/>
              <p:nvPr/>
            </p:nvSpPr>
            <p:spPr>
              <a:xfrm>
                <a:off x="4368637" y="6371547"/>
                <a:ext cx="2225898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/>
                  </a:rPr>
                  <a:t>EXCHANGE OF RINGS</a:t>
                </a:r>
              </a:p>
            </p:txBody>
          </p:sp>
          <p:sp>
            <p:nvSpPr>
              <p:cNvPr id="48" name="TextBox 48"/>
              <p:cNvSpPr txBox="1"/>
              <p:nvPr/>
            </p:nvSpPr>
            <p:spPr>
              <a:xfrm>
                <a:off x="1382725" y="5723368"/>
                <a:ext cx="2277916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 panose="02020502070400060406" pitchFamily="18" charset="0"/>
                  </a:rPr>
                  <a:t>5:45 PM</a:t>
                </a:r>
              </a:p>
            </p:txBody>
          </p:sp>
          <p:sp>
            <p:nvSpPr>
              <p:cNvPr id="49" name="TextBox 49"/>
              <p:cNvSpPr txBox="1"/>
              <p:nvPr/>
            </p:nvSpPr>
            <p:spPr>
              <a:xfrm>
                <a:off x="1382725" y="6371547"/>
                <a:ext cx="2277916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/>
                  </a:rPr>
                  <a:t>EXCHANGE OF VOWS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11FF2953-24EE-856F-7E7F-FCC2FF041939}"/>
                </a:ext>
              </a:extLst>
            </p:cNvPr>
            <p:cNvGrpSpPr/>
            <p:nvPr/>
          </p:nvGrpSpPr>
          <p:grpSpPr>
            <a:xfrm>
              <a:off x="1222039" y="4245984"/>
              <a:ext cx="8528721" cy="74585"/>
              <a:chOff x="1222039" y="4245984"/>
              <a:chExt cx="8528721" cy="74585"/>
            </a:xfrm>
          </p:grpSpPr>
          <p:sp>
            <p:nvSpPr>
              <p:cNvPr id="23" name="Freeform 23"/>
              <p:cNvSpPr/>
              <p:nvPr/>
            </p:nvSpPr>
            <p:spPr>
              <a:xfrm>
                <a:off x="2484390" y="4245984"/>
                <a:ext cx="74585" cy="74585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A8785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0" name="Freeform 20"/>
              <p:cNvSpPr/>
              <p:nvPr/>
            </p:nvSpPr>
            <p:spPr>
              <a:xfrm>
                <a:off x="5442115" y="4245984"/>
                <a:ext cx="74585" cy="74585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A8785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6" name="Freeform 26"/>
              <p:cNvSpPr/>
              <p:nvPr/>
            </p:nvSpPr>
            <p:spPr>
              <a:xfrm>
                <a:off x="8427325" y="4245984"/>
                <a:ext cx="74585" cy="74585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A8785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" name="AutoShape 18"/>
              <p:cNvSpPr/>
              <p:nvPr/>
            </p:nvSpPr>
            <p:spPr>
              <a:xfrm>
                <a:off x="1222039" y="4283277"/>
                <a:ext cx="8528721" cy="0"/>
              </a:xfrm>
              <a:prstGeom prst="line">
                <a:avLst/>
              </a:prstGeom>
              <a:ln w="9525" cap="flat">
                <a:solidFill>
                  <a:srgbClr val="A8785D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A1490682-AB60-9074-3EC7-E1CDAF708EEB}"/>
                </a:ext>
              </a:extLst>
            </p:cNvPr>
            <p:cNvGrpSpPr/>
            <p:nvPr/>
          </p:nvGrpSpPr>
          <p:grpSpPr>
            <a:xfrm>
              <a:off x="1284419" y="3810175"/>
              <a:ext cx="8471155" cy="901622"/>
              <a:chOff x="1284419" y="3810175"/>
              <a:chExt cx="8471155" cy="901622"/>
            </a:xfrm>
          </p:grpSpPr>
          <p:sp>
            <p:nvSpPr>
              <p:cNvPr id="28" name="TextBox 28"/>
              <p:cNvSpPr txBox="1"/>
              <p:nvPr/>
            </p:nvSpPr>
            <p:spPr>
              <a:xfrm>
                <a:off x="7214647" y="4467691"/>
                <a:ext cx="2540927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/>
                  </a:rPr>
                  <a:t>OPENING REMARKS</a:t>
                </a:r>
              </a:p>
            </p:txBody>
          </p:sp>
          <p:sp>
            <p:nvSpPr>
              <p:cNvPr id="29" name="TextBox 29"/>
              <p:cNvSpPr txBox="1"/>
              <p:nvPr/>
            </p:nvSpPr>
            <p:spPr>
              <a:xfrm>
                <a:off x="7214647" y="3810175"/>
                <a:ext cx="2540927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 panose="02020502070400060406" pitchFamily="18" charset="0"/>
                  </a:rPr>
                  <a:t>5:40 PM</a:t>
                </a:r>
              </a:p>
            </p:txBody>
          </p:sp>
          <p:sp>
            <p:nvSpPr>
              <p:cNvPr id="30" name="TextBox 30"/>
              <p:cNvSpPr txBox="1"/>
              <p:nvPr/>
            </p:nvSpPr>
            <p:spPr>
              <a:xfrm>
                <a:off x="4461632" y="4467691"/>
                <a:ext cx="2039908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/>
                  </a:rPr>
                  <a:t>PROCESSIONAL</a:t>
                </a:r>
              </a:p>
            </p:txBody>
          </p:sp>
          <p:sp>
            <p:nvSpPr>
              <p:cNvPr id="31" name="TextBox 31"/>
              <p:cNvSpPr txBox="1"/>
              <p:nvPr/>
            </p:nvSpPr>
            <p:spPr>
              <a:xfrm>
                <a:off x="4461632" y="3810175"/>
                <a:ext cx="2039908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 panose="02020502070400060406" pitchFamily="18" charset="0"/>
                  </a:rPr>
                  <a:t>5:30 PM</a:t>
                </a:r>
              </a:p>
            </p:txBody>
          </p:sp>
          <p:sp>
            <p:nvSpPr>
              <p:cNvPr id="32" name="TextBox 32"/>
              <p:cNvSpPr txBox="1"/>
              <p:nvPr/>
            </p:nvSpPr>
            <p:spPr>
              <a:xfrm>
                <a:off x="1284419" y="4467691"/>
                <a:ext cx="2474527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/>
                  </a:rPr>
                  <a:t>GUEST ARRIVAL &amp; SEATING</a:t>
                </a:r>
              </a:p>
            </p:txBody>
          </p:sp>
          <p:sp>
            <p:nvSpPr>
              <p:cNvPr id="33" name="TextBox 33"/>
              <p:cNvSpPr txBox="1"/>
              <p:nvPr/>
            </p:nvSpPr>
            <p:spPr>
              <a:xfrm>
                <a:off x="1284419" y="3810175"/>
                <a:ext cx="2474527" cy="24410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999"/>
                  </a:lnSpc>
                  <a:spcBef>
                    <a:spcPct val="0"/>
                  </a:spcBef>
                </a:pPr>
                <a:r>
                  <a:rPr lang="en-US" sz="1450" dirty="0">
                    <a:solidFill>
                      <a:srgbClr val="A8785D"/>
                    </a:solidFill>
                    <a:latin typeface="Ovo"/>
                  </a:rPr>
                  <a:t>5:00 PM</a:t>
                </a:r>
              </a:p>
            </p:txBody>
          </p:sp>
        </p:grpSp>
        <p:sp>
          <p:nvSpPr>
            <p:cNvPr id="50" name="TextBox 50"/>
            <p:cNvSpPr txBox="1"/>
            <p:nvPr/>
          </p:nvSpPr>
          <p:spPr>
            <a:xfrm>
              <a:off x="3809591" y="1728299"/>
              <a:ext cx="3343989" cy="134652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lvl="0" indent="0" algn="ctr">
                <a:lnSpc>
                  <a:spcPts val="10536"/>
                </a:lnSpc>
                <a:spcBef>
                  <a:spcPct val="0"/>
                </a:spcBef>
              </a:pPr>
              <a:r>
                <a:rPr lang="en-US" sz="7500" u="none" strike="noStrike" dirty="0">
                  <a:solidFill>
                    <a:srgbClr val="A8785D"/>
                  </a:solidFill>
                  <a:latin typeface="Pinyon Script"/>
                </a:rPr>
                <a:t>Timelines</a:t>
              </a:r>
            </a:p>
          </p:txBody>
        </p:sp>
        <p:sp>
          <p:nvSpPr>
            <p:cNvPr id="55" name="TemplateLAB"/>
            <p:cNvSpPr/>
            <p:nvPr/>
          </p:nvSpPr>
          <p:spPr>
            <a:xfrm>
              <a:off x="5052508" y="10029210"/>
              <a:ext cx="867782" cy="143184"/>
            </a:xfrm>
            <a:custGeom>
              <a:avLst/>
              <a:gdLst/>
              <a:ahLst/>
              <a:cxnLst/>
              <a:rect l="l" t="t" r="r" b="b"/>
              <a:pathLst>
                <a:path w="867782" h="143184">
                  <a:moveTo>
                    <a:pt x="0" y="0"/>
                  </a:moveTo>
                  <a:lnTo>
                    <a:pt x="867782" y="0"/>
                  </a:lnTo>
                  <a:lnTo>
                    <a:pt x="867782" y="143184"/>
                  </a:lnTo>
                  <a:lnTo>
                    <a:pt x="0" y="14318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7">
                <a:alphaModFix amt="70000"/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39162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</TotalTime>
  <Words>61</Words>
  <Application>Microsoft Office PowerPoint</Application>
  <PresentationFormat>Custom</PresentationFormat>
  <Paragraphs>23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Ovo</vt:lpstr>
      <vt:lpstr>Pinyon Script</vt:lpstr>
      <vt:lpstr>Office Them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Wedding program - Square</dc:title>
  <dc:creator>Hoang Anh</dc:creator>
  <cp:lastModifiedBy>Hoang Anh</cp:lastModifiedBy>
  <cp:revision>11</cp:revision>
  <dcterms:created xsi:type="dcterms:W3CDTF">2006-08-16T00:00:00Z</dcterms:created>
  <dcterms:modified xsi:type="dcterms:W3CDTF">2024-04-27T17:42:24Z</dcterms:modified>
  <dc:identifier>DAGDhnCT3YY</dc:identifier>
</cp:coreProperties>
</file>